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53" r:id="rId2"/>
  </p:sldIdLst>
  <p:sldSz cx="9144000" cy="6858000" type="screen4x3"/>
  <p:notesSz cx="6858000" cy="9144000"/>
  <p:custDataLst>
    <p:tags r:id="rId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ožová Lucie" initials="L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F77"/>
    <a:srgbClr val="D163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9" autoAdjust="0"/>
    <p:restoredTop sz="93448" autoAdjust="0"/>
  </p:normalViewPr>
  <p:slideViewPr>
    <p:cSldViewPr>
      <p:cViewPr varScale="1">
        <p:scale>
          <a:sx n="122" d="100"/>
          <a:sy n="122" d="100"/>
        </p:scale>
        <p:origin x="1308" y="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10" Type="http://schemas.microsoft.com/office/2016/11/relationships/changesInfo" Target="changesInfos/changesInfo1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aela Cvanová" userId="0223553e-aaee-476b-a3df-411cbe18005f" providerId="ADAL" clId="{EBD6A8E8-20FA-42B3-94DE-FE22219F8A5C}"/>
    <pc:docChg chg="custSel modSld">
      <pc:chgData name="Michaela Cvanová" userId="0223553e-aaee-476b-a3df-411cbe18005f" providerId="ADAL" clId="{EBD6A8E8-20FA-42B3-94DE-FE22219F8A5C}" dt="2024-05-13T10:25:28.499" v="335"/>
      <pc:docMkLst>
        <pc:docMk/>
      </pc:docMkLst>
      <pc:sldChg chg="modSp mod">
        <pc:chgData name="Michaela Cvanová" userId="0223553e-aaee-476b-a3df-411cbe18005f" providerId="ADAL" clId="{EBD6A8E8-20FA-42B3-94DE-FE22219F8A5C}" dt="2024-05-13T10:25:28.499" v="335"/>
        <pc:sldMkLst>
          <pc:docMk/>
          <pc:sldMk cId="2465141047" sldId="353"/>
        </pc:sldMkLst>
        <pc:spChg chg="mod replST delST">
          <ac:chgData name="Michaela Cvanová" userId="0223553e-aaee-476b-a3df-411cbe18005f" providerId="ADAL" clId="{EBD6A8E8-20FA-42B3-94DE-FE22219F8A5C}" dt="2024-05-13T10:25:28.499" v="335"/>
          <ac:spMkLst>
            <pc:docMk/>
            <pc:sldMk cId="2465141047" sldId="353"/>
            <ac:spMk id="5" creationId="{ECE92B3D-2237-70EC-13E2-E92323F55D19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659347-840F-40A7-88F4-6B6B9A66D102}" type="datetimeFigureOut">
              <a:rPr lang="cs-CZ" smtClean="0"/>
              <a:pPr/>
              <a:t>13.05.2024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1AC207-762A-4F98-82CE-914C67230C4A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194157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Obdélník 4"/>
          <p:cNvSpPr>
            <a:spLocks noChangeArrowheads="1"/>
          </p:cNvSpPr>
          <p:nvPr/>
        </p:nvSpPr>
        <p:spPr bwMode="white">
          <a:xfrm>
            <a:off x="8991600" y="3175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Obdélník 5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" name="Obdélník 6"/>
          <p:cNvSpPr>
            <a:spLocks noChangeArrowheads="1"/>
          </p:cNvSpPr>
          <p:nvPr/>
        </p:nvSpPr>
        <p:spPr bwMode="white">
          <a:xfrm>
            <a:off x="0" y="0"/>
            <a:ext cx="9144000" cy="25146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Obdélník 9"/>
          <p:cNvSpPr>
            <a:spLocks noChangeArrowheads="1"/>
          </p:cNvSpPr>
          <p:nvPr/>
        </p:nvSpPr>
        <p:spPr bwMode="auto">
          <a:xfrm>
            <a:off x="146050" y="6391275"/>
            <a:ext cx="8832850" cy="466725"/>
          </a:xfrm>
          <a:prstGeom prst="rect">
            <a:avLst/>
          </a:prstGeom>
          <a:solidFill>
            <a:srgbClr val="D7E1E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Přímá spojovací čára 10"/>
          <p:cNvSpPr>
            <a:spLocks noChangeShapeType="1"/>
          </p:cNvSpPr>
          <p:nvPr/>
        </p:nvSpPr>
        <p:spPr bwMode="auto">
          <a:xfrm>
            <a:off x="155575" y="2419350"/>
            <a:ext cx="8832850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Obdélník 11"/>
          <p:cNvSpPr>
            <a:spLocks noChangeArrowheads="1"/>
          </p:cNvSpPr>
          <p:nvPr/>
        </p:nvSpPr>
        <p:spPr bwMode="auto">
          <a:xfrm>
            <a:off x="152400" y="152400"/>
            <a:ext cx="8832850" cy="6705600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Elipsa 12"/>
          <p:cNvSpPr/>
          <p:nvPr/>
        </p:nvSpPr>
        <p:spPr>
          <a:xfrm>
            <a:off x="4267200" y="2114550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Elipsa 13"/>
          <p:cNvSpPr/>
          <p:nvPr/>
        </p:nvSpPr>
        <p:spPr>
          <a:xfrm>
            <a:off x="4362450" y="2209800"/>
            <a:ext cx="419100" cy="420688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odnadpis 8"/>
          <p:cNvSpPr>
            <a:spLocks noGrp="1"/>
          </p:cNvSpPr>
          <p:nvPr>
            <p:ph type="subTitle" idx="1"/>
          </p:nvPr>
        </p:nvSpPr>
        <p:spPr>
          <a:xfrm>
            <a:off x="1371600" y="2819400"/>
            <a:ext cx="6400800" cy="1752600"/>
          </a:xfrm>
        </p:spPr>
        <p:txBody>
          <a:bodyPr/>
          <a:lstStyle>
            <a:lvl1pPr marL="0" indent="0" algn="ctr">
              <a:buNone/>
              <a:defRPr sz="1600" b="1" cap="all" spc="250" baseline="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cs-CZ"/>
              <a:t>Klepnutím lze upravit styl předlohy podnadpisů.</a:t>
            </a:r>
            <a:endParaRPr lang="en-US"/>
          </a:p>
        </p:txBody>
      </p:sp>
      <p:sp>
        <p:nvSpPr>
          <p:cNvPr id="8" name="Nadpis 7"/>
          <p:cNvSpPr>
            <a:spLocks noGrp="1"/>
          </p:cNvSpPr>
          <p:nvPr>
            <p:ph type="ctrTitle"/>
          </p:nvPr>
        </p:nvSpPr>
        <p:spPr>
          <a:xfrm>
            <a:off x="685800" y="381000"/>
            <a:ext cx="7772400" cy="1752600"/>
          </a:xfrm>
        </p:spPr>
        <p:txBody>
          <a:bodyPr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cs-CZ"/>
              <a:t>Klepnutím lze upravit styl předlohy nadpisů.</a:t>
            </a:r>
            <a:endParaRPr lang="en-US"/>
          </a:p>
        </p:txBody>
      </p:sp>
      <p:sp>
        <p:nvSpPr>
          <p:cNvPr id="16" name="Zástupný symbol pro datum 2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19BE8F-E050-4C3C-9814-D6EC8D55BDA4}" type="datetime1">
              <a:rPr lang="cs-CZ"/>
              <a:pPr>
                <a:defRPr/>
              </a:pPr>
              <a:t>13.05.2024</a:t>
            </a:fld>
            <a:endParaRPr lang="cs-CZ"/>
          </a:p>
        </p:txBody>
      </p:sp>
      <p:sp>
        <p:nvSpPr>
          <p:cNvPr id="18" name="Zástupný symbol pro číslo snímku 28"/>
          <p:cNvSpPr>
            <a:spLocks noGrp="1"/>
          </p:cNvSpPr>
          <p:nvPr>
            <p:ph type="sldNum" sz="quarter" idx="12"/>
          </p:nvPr>
        </p:nvSpPr>
        <p:spPr>
          <a:xfrm>
            <a:off x="4343400" y="2198688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036E1D8A-CBB2-4B24-B7B3-E30E3B97490E}" type="slidenum">
              <a:rPr lang="cs-CZ">
                <a:solidFill>
                  <a:srgbClr val="8CADAE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cs-CZ">
              <a:solidFill>
                <a:srgbClr val="8CADAE">
                  <a:shade val="75000"/>
                </a:srgbClr>
              </a:solidFill>
            </a:endParaRPr>
          </a:p>
        </p:txBody>
      </p:sp>
      <p:pic>
        <p:nvPicPr>
          <p:cNvPr id="19" name="Picture 16" descr="logo-IBA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0583" y="6424438"/>
            <a:ext cx="410977" cy="38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Zástupný symbol pro zápatí 3"/>
          <p:cNvSpPr>
            <a:spLocks noGrp="1"/>
          </p:cNvSpPr>
          <p:nvPr>
            <p:ph type="ftr" sz="quarter" idx="11"/>
          </p:nvPr>
        </p:nvSpPr>
        <p:spPr>
          <a:xfrm>
            <a:off x="683568" y="6446663"/>
            <a:ext cx="3581400" cy="366713"/>
          </a:xfrm>
        </p:spPr>
        <p:txBody>
          <a:bodyPr/>
          <a:lstStyle>
            <a:lvl1pPr>
              <a:defRPr i="1"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cs-CZ" dirty="0"/>
              <a:t>Vytvořil Institut biostatistiky a analýz, Masarykova univerzita </a:t>
            </a:r>
            <a:br>
              <a:rPr lang="cs-CZ" dirty="0"/>
            </a:br>
            <a:r>
              <a:rPr lang="cs-CZ" dirty="0"/>
              <a:t>J. Jarkovský, L. Brožová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" name="Obdélník 3"/>
          <p:cNvSpPr>
            <a:spLocks noChangeArrowheads="1"/>
          </p:cNvSpPr>
          <p:nvPr/>
        </p:nvSpPr>
        <p:spPr bwMode="white">
          <a:xfrm>
            <a:off x="0" y="0"/>
            <a:ext cx="9144000" cy="13938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Obdélník 4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Obdélník 5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" name="Obdélník 6"/>
          <p:cNvSpPr>
            <a:spLocks noChangeArrowheads="1"/>
          </p:cNvSpPr>
          <p:nvPr/>
        </p:nvSpPr>
        <p:spPr bwMode="auto">
          <a:xfrm>
            <a:off x="149225" y="6388100"/>
            <a:ext cx="8832850" cy="469900"/>
          </a:xfrm>
          <a:prstGeom prst="rect">
            <a:avLst/>
          </a:prstGeom>
          <a:solidFill>
            <a:srgbClr val="D7E1E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" name="Obdélník 7"/>
          <p:cNvSpPr>
            <a:spLocks noChangeArrowheads="1"/>
          </p:cNvSpPr>
          <p:nvPr/>
        </p:nvSpPr>
        <p:spPr bwMode="auto">
          <a:xfrm>
            <a:off x="152400" y="155575"/>
            <a:ext cx="8832850" cy="6702425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9" name="Přímá spojovací čára 8"/>
          <p:cNvSpPr>
            <a:spLocks noChangeShapeType="1"/>
          </p:cNvSpPr>
          <p:nvPr/>
        </p:nvSpPr>
        <p:spPr bwMode="auto">
          <a:xfrm>
            <a:off x="152400" y="1276350"/>
            <a:ext cx="8832850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Elipsa 9"/>
          <p:cNvSpPr/>
          <p:nvPr/>
        </p:nvSpPr>
        <p:spPr>
          <a:xfrm>
            <a:off x="4267200" y="955675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Elipsa 10"/>
          <p:cNvSpPr/>
          <p:nvPr/>
        </p:nvSpPr>
        <p:spPr>
          <a:xfrm>
            <a:off x="4362450" y="1050925"/>
            <a:ext cx="419100" cy="420688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6" descr="logo-IBA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0583" y="6424438"/>
            <a:ext cx="410977" cy="38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  <a:endParaRPr lang="en-US"/>
          </a:p>
        </p:txBody>
      </p:sp>
      <p:sp>
        <p:nvSpPr>
          <p:cNvPr id="1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8C414C-7B53-472E-BAB1-DC981D950C87}" type="datetime1">
              <a:rPr lang="cs-CZ"/>
              <a:pPr>
                <a:defRPr/>
              </a:pPr>
              <a:t>13.05.2024</a:t>
            </a:fld>
            <a:endParaRPr lang="cs-CZ"/>
          </a:p>
        </p:txBody>
      </p:sp>
      <p:sp>
        <p:nvSpPr>
          <p:cNvPr id="14" name="Zástupný symbol pro zápatí 3"/>
          <p:cNvSpPr>
            <a:spLocks noGrp="1"/>
          </p:cNvSpPr>
          <p:nvPr>
            <p:ph type="ftr" sz="quarter" idx="11"/>
          </p:nvPr>
        </p:nvSpPr>
        <p:spPr>
          <a:xfrm>
            <a:off x="683568" y="6446663"/>
            <a:ext cx="3581400" cy="366713"/>
          </a:xfrm>
        </p:spPr>
        <p:txBody>
          <a:bodyPr/>
          <a:lstStyle>
            <a:lvl1pPr>
              <a:defRPr i="1"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cs-CZ" dirty="0"/>
              <a:t>Vytvořil Institut biostatistiky a analýz, Masarykova univerzita </a:t>
            </a:r>
            <a:br>
              <a:rPr lang="cs-CZ" dirty="0"/>
            </a:br>
            <a:r>
              <a:rPr lang="cs-CZ" dirty="0"/>
              <a:t>J. Jarkovský, L. Brožová</a:t>
            </a:r>
          </a:p>
        </p:txBody>
      </p:sp>
      <p:sp>
        <p:nvSpPr>
          <p:cNvPr id="15" name="Zástupný symbol pro číslo snímku 4"/>
          <p:cNvSpPr>
            <a:spLocks noGrp="1"/>
          </p:cNvSpPr>
          <p:nvPr>
            <p:ph type="sldNum" sz="quarter" idx="12"/>
          </p:nvPr>
        </p:nvSpPr>
        <p:spPr>
          <a:xfrm>
            <a:off x="4343400" y="1036638"/>
            <a:ext cx="457200" cy="4413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5840BF-48BA-43BD-9A16-632094A4B4AF}" type="slidenum">
              <a:rPr lang="cs-CZ">
                <a:solidFill>
                  <a:srgbClr val="8CADAE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cs-CZ">
              <a:solidFill>
                <a:srgbClr val="8CADAE">
                  <a:shade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římá spojovací čára 4"/>
          <p:cNvSpPr>
            <a:spLocks noChangeShapeType="1"/>
          </p:cNvSpPr>
          <p:nvPr/>
        </p:nvSpPr>
        <p:spPr bwMode="auto">
          <a:xfrm>
            <a:off x="152400" y="533400"/>
            <a:ext cx="8832850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Obdélník 5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" name="Obdélník 6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" name="Obdélník 7"/>
          <p:cNvSpPr>
            <a:spLocks noChangeArrowheads="1"/>
          </p:cNvSpPr>
          <p:nvPr/>
        </p:nvSpPr>
        <p:spPr bwMode="white">
          <a:xfrm>
            <a:off x="0" y="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9" name="Obdélník 8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Obdélník 9"/>
          <p:cNvSpPr>
            <a:spLocks noChangeArrowheads="1"/>
          </p:cNvSpPr>
          <p:nvPr/>
        </p:nvSpPr>
        <p:spPr bwMode="auto">
          <a:xfrm>
            <a:off x="152400" y="152400"/>
            <a:ext cx="8832850" cy="3016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Obdélník 10"/>
          <p:cNvSpPr/>
          <p:nvPr/>
        </p:nvSpPr>
        <p:spPr>
          <a:xfrm>
            <a:off x="152400" y="609600"/>
            <a:ext cx="2743200" cy="5867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Obdélník 11"/>
          <p:cNvSpPr>
            <a:spLocks noChangeArrowheads="1"/>
          </p:cNvSpPr>
          <p:nvPr/>
        </p:nvSpPr>
        <p:spPr bwMode="auto">
          <a:xfrm>
            <a:off x="152400" y="155575"/>
            <a:ext cx="8832850" cy="6546850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Elipsa 12"/>
          <p:cNvSpPr/>
          <p:nvPr/>
        </p:nvSpPr>
        <p:spPr>
          <a:xfrm>
            <a:off x="1295400" y="228600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Elipsa 13"/>
          <p:cNvSpPr/>
          <p:nvPr/>
        </p:nvSpPr>
        <p:spPr>
          <a:xfrm>
            <a:off x="1390650" y="323850"/>
            <a:ext cx="419100" cy="419100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bdélník 14"/>
          <p:cNvSpPr>
            <a:spLocks noChangeArrowheads="1"/>
          </p:cNvSpPr>
          <p:nvPr/>
        </p:nvSpPr>
        <p:spPr bwMode="auto">
          <a:xfrm>
            <a:off x="149225" y="6388100"/>
            <a:ext cx="8832850" cy="469900"/>
          </a:xfrm>
          <a:prstGeom prst="rect">
            <a:avLst/>
          </a:prstGeom>
          <a:solidFill>
            <a:srgbClr val="D7E1E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16" name="Picture 20" descr="logo-IBA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70363" y="6453188"/>
            <a:ext cx="360362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1" descr="logomuni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03750" y="6408738"/>
            <a:ext cx="400050" cy="40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000375" y="5029200"/>
            <a:ext cx="5867400" cy="1219200"/>
          </a:xfrm>
        </p:spPr>
        <p:txBody>
          <a:bodyPr anchor="t">
            <a:noAutofit/>
          </a:bodyPr>
          <a:lstStyle>
            <a:lvl1pPr algn="l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cs-CZ"/>
              <a:t>Klepnutím lze upravit styl předlohy nadpisů.</a:t>
            </a:r>
            <a:endParaRPr lang="en-US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3000375" y="609600"/>
            <a:ext cx="5867400" cy="4267200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cs-CZ" noProof="0"/>
              <a:t>Klepnutím na ikonu přidáte obrázek.</a:t>
            </a:r>
            <a:endParaRPr lang="en-US" noProof="0" dirty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381000" y="990600"/>
            <a:ext cx="2438400" cy="5257800"/>
          </a:xfrm>
        </p:spPr>
        <p:txBody>
          <a:bodyPr/>
          <a:lstStyle>
            <a:lvl1pPr marL="0" indent="0">
              <a:spcAft>
                <a:spcPts val="1000"/>
              </a:spcAft>
              <a:buFontTx/>
              <a:buNone/>
              <a:defRPr sz="1600">
                <a:solidFill>
                  <a:srgbClr val="FFFFFF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18" name="Zástupný symbol pro číslo snímku 6"/>
          <p:cNvSpPr>
            <a:spLocks noGrp="1"/>
          </p:cNvSpPr>
          <p:nvPr>
            <p:ph type="sldNum" sz="quarter" idx="10"/>
          </p:nvPr>
        </p:nvSpPr>
        <p:spPr>
          <a:xfrm>
            <a:off x="1371600" y="312738"/>
            <a:ext cx="457200" cy="4413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68AA4C-38FB-42CA-A2B5-1C13FFEA9B69}" type="slidenum">
              <a:rPr lang="cs-CZ">
                <a:solidFill>
                  <a:srgbClr val="8CADAE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cs-CZ">
              <a:solidFill>
                <a:srgbClr val="8CADAE">
                  <a:shade val="75000"/>
                </a:srgbClr>
              </a:solidFill>
            </a:endParaRPr>
          </a:p>
        </p:txBody>
      </p:sp>
      <p:sp>
        <p:nvSpPr>
          <p:cNvPr id="19" name="Zástupný symbol pro datum 4"/>
          <p:cNvSpPr>
            <a:spLocks noGrp="1"/>
          </p:cNvSpPr>
          <p:nvPr>
            <p:ph type="dt" sz="half" idx="11"/>
          </p:nvPr>
        </p:nvSpPr>
        <p:spPr>
          <a:xfrm>
            <a:off x="5788025" y="6405563"/>
            <a:ext cx="304482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571C8C-95FA-40E6-A23E-43FAEC9E1CC8}" type="datetime1">
              <a:rPr lang="cs-CZ"/>
              <a:pPr>
                <a:defRPr/>
              </a:pPr>
              <a:t>13.05.2024</a:t>
            </a:fld>
            <a:endParaRPr lang="cs-CZ"/>
          </a:p>
        </p:txBody>
      </p:sp>
      <p:sp>
        <p:nvSpPr>
          <p:cNvPr id="20" name="Zástupný symbol pro zápatí 5"/>
          <p:cNvSpPr>
            <a:spLocks noGrp="1"/>
          </p:cNvSpPr>
          <p:nvPr>
            <p:ph type="ftr" sz="quarter" idx="12"/>
          </p:nvPr>
        </p:nvSpPr>
        <p:spPr>
          <a:xfrm>
            <a:off x="301625" y="6410325"/>
            <a:ext cx="3584575" cy="366713"/>
          </a:xfrm>
        </p:spPr>
        <p:txBody>
          <a:bodyPr/>
          <a:lstStyle>
            <a:lvl1pPr>
              <a:defRPr sz="900"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cs-CZ"/>
              <a:t>Vytvořil Institut biostatistiky a analýz, Masarykova univerzita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délník 16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6" name="Obdélník 15"/>
          <p:cNvSpPr>
            <a:spLocks noChangeArrowheads="1"/>
          </p:cNvSpPr>
          <p:nvPr/>
        </p:nvSpPr>
        <p:spPr bwMode="white">
          <a:xfrm>
            <a:off x="0" y="0"/>
            <a:ext cx="9144000" cy="13938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" name="Obdélník 17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9" name="Obdélník 18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9" name="Obdélník 8"/>
          <p:cNvSpPr>
            <a:spLocks noChangeArrowheads="1"/>
          </p:cNvSpPr>
          <p:nvPr/>
        </p:nvSpPr>
        <p:spPr bwMode="auto">
          <a:xfrm>
            <a:off x="149225" y="6388100"/>
            <a:ext cx="8832850" cy="469900"/>
          </a:xfrm>
          <a:prstGeom prst="rect">
            <a:avLst/>
          </a:prstGeom>
          <a:solidFill>
            <a:srgbClr val="D7E1E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" name="Zástupný symbol pro datum 13"/>
          <p:cNvSpPr>
            <a:spLocks noGrp="1"/>
          </p:cNvSpPr>
          <p:nvPr>
            <p:ph type="dt" sz="half" idx="2"/>
          </p:nvPr>
        </p:nvSpPr>
        <p:spPr>
          <a:xfrm>
            <a:off x="5791200" y="6405563"/>
            <a:ext cx="3044825" cy="365125"/>
          </a:xfrm>
          <a:prstGeom prst="rect">
            <a:avLst/>
          </a:prstGeom>
        </p:spPr>
        <p:txBody>
          <a:bodyPr vert="horz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 b="0" i="0">
                <a:solidFill>
                  <a:srgbClr val="FF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1F77581-F61D-4517-972C-775A665F2C85}" type="datetime1">
              <a:rPr lang="cs-CZ"/>
              <a:pPr>
                <a:defRPr/>
              </a:pPr>
              <a:t>13.05.2024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3"/>
          </p:nvPr>
        </p:nvSpPr>
        <p:spPr>
          <a:xfrm>
            <a:off x="304800" y="6410325"/>
            <a:ext cx="3581400" cy="3667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 b="0" i="0" smtClean="0">
                <a:solidFill>
                  <a:srgbClr val="607B7C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cs-CZ">
                <a:cs typeface="Arial" pitchFamily="34" charset="0"/>
              </a:rPr>
              <a:t>Vytvořil Institut biostatistiky a analýz, Masarykova univerzit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cs-CZ">
              <a:cs typeface="Arial" pitchFamily="34" charset="0"/>
            </a:endParaRPr>
          </a:p>
        </p:txBody>
      </p:sp>
      <p:sp>
        <p:nvSpPr>
          <p:cNvPr id="8" name="Obdélník 7"/>
          <p:cNvSpPr>
            <a:spLocks noChangeArrowheads="1"/>
          </p:cNvSpPr>
          <p:nvPr/>
        </p:nvSpPr>
        <p:spPr bwMode="auto">
          <a:xfrm>
            <a:off x="152400" y="155575"/>
            <a:ext cx="8832850" cy="6702425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Přímá spojovací čára 9"/>
          <p:cNvSpPr>
            <a:spLocks noChangeShapeType="1"/>
          </p:cNvSpPr>
          <p:nvPr/>
        </p:nvSpPr>
        <p:spPr bwMode="auto">
          <a:xfrm>
            <a:off x="152400" y="1276350"/>
            <a:ext cx="8832850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Elipsa 11"/>
          <p:cNvSpPr/>
          <p:nvPr/>
        </p:nvSpPr>
        <p:spPr>
          <a:xfrm>
            <a:off x="4267200" y="955675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Elipsa 14"/>
          <p:cNvSpPr/>
          <p:nvPr/>
        </p:nvSpPr>
        <p:spPr>
          <a:xfrm>
            <a:off x="4362450" y="1050925"/>
            <a:ext cx="419100" cy="420688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Zástupný symbol pro číslo snímku 22"/>
          <p:cNvSpPr>
            <a:spLocks noGrp="1"/>
          </p:cNvSpPr>
          <p:nvPr>
            <p:ph type="sldNum" sz="quarter" idx="4"/>
          </p:nvPr>
        </p:nvSpPr>
        <p:spPr>
          <a:xfrm>
            <a:off x="4343400" y="1039813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600" b="0" i="0">
                <a:solidFill>
                  <a:schemeClr val="accent3">
                    <a:shade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2052ECD-D51C-402B-8D1E-D191B99D66A0}" type="slidenum">
              <a:rPr lang="cs-CZ">
                <a:solidFill>
                  <a:srgbClr val="8CADAE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cs-CZ">
              <a:solidFill>
                <a:srgbClr val="8CADAE">
                  <a:shade val="75000"/>
                </a:srgbClr>
              </a:solidFill>
            </a:endParaRPr>
          </a:p>
        </p:txBody>
      </p:sp>
      <p:sp>
        <p:nvSpPr>
          <p:cNvPr id="112654" name="Zástupný symbol pro nadpis 21"/>
          <p:cNvSpPr>
            <a:spLocks noGrp="1"/>
          </p:cNvSpPr>
          <p:nvPr>
            <p:ph type="title"/>
          </p:nvPr>
        </p:nvSpPr>
        <p:spPr bwMode="auto">
          <a:xfrm>
            <a:off x="301625" y="228600"/>
            <a:ext cx="8534400" cy="75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 předlohy nadpisů.</a:t>
            </a:r>
            <a:endParaRPr lang="en-US"/>
          </a:p>
        </p:txBody>
      </p:sp>
      <p:sp>
        <p:nvSpPr>
          <p:cNvPr id="112655" name="Zástupný symbol pro text 12"/>
          <p:cNvSpPr>
            <a:spLocks noGrp="1"/>
          </p:cNvSpPr>
          <p:nvPr>
            <p:ph type="body" idx="1"/>
          </p:nvPr>
        </p:nvSpPr>
        <p:spPr bwMode="auto">
          <a:xfrm>
            <a:off x="301625" y="1524000"/>
            <a:ext cx="8534400" cy="4598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pic>
        <p:nvPicPr>
          <p:cNvPr id="112656" name="Picture 19" descr="logo-IBA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170363" y="6453188"/>
            <a:ext cx="360362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657" name="Picture 20" descr="logomuni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603750" y="6408738"/>
            <a:ext cx="400050" cy="40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b="1" kern="1200">
          <a:solidFill>
            <a:srgbClr val="7B9899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 b="1">
          <a:solidFill>
            <a:srgbClr val="7B9899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 b="1">
          <a:solidFill>
            <a:srgbClr val="7B9899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 b="1">
          <a:solidFill>
            <a:srgbClr val="7B9899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 b="1">
          <a:solidFill>
            <a:srgbClr val="7B9899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300" b="1">
          <a:solidFill>
            <a:srgbClr val="7B9899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300" b="1">
          <a:solidFill>
            <a:srgbClr val="7B9899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300" b="1">
          <a:solidFill>
            <a:srgbClr val="7B9899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300" b="1">
          <a:solidFill>
            <a:srgbClr val="7B9899"/>
          </a:solidFill>
          <a:latin typeface="Calibri" pitchFamily="34" charset="0"/>
        </a:defRPr>
      </a:lvl9pPr>
    </p:titleStyle>
    <p:bodyStyle>
      <a:lvl1pPr marL="273050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itchFamily="18" charset="2"/>
        <a:buChar char="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547688" indent="-2730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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822325" indent="-228600" algn="l" rtl="0" eaLnBrk="0" fontAlgn="base" hangingPunct="0">
        <a:spcBef>
          <a:spcPct val="20000"/>
        </a:spcBef>
        <a:spcAft>
          <a:spcPct val="0"/>
        </a:spcAft>
        <a:buClr>
          <a:srgbClr val="8CADAE"/>
        </a:buClr>
        <a:buSzPct val="75000"/>
        <a:buFont typeface="Wingdings 2" pitchFamily="18" charset="2"/>
        <a:buChar char="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6963" indent="-228600" algn="l" rtl="0" eaLnBrk="0" fontAlgn="base" hangingPunct="0">
        <a:spcBef>
          <a:spcPct val="20000"/>
        </a:spcBef>
        <a:spcAft>
          <a:spcPct val="0"/>
        </a:spcAft>
        <a:buClr>
          <a:srgbClr val="8C7B70"/>
        </a:buClr>
        <a:buSzPct val="70000"/>
        <a:buFont typeface="Wingdings" pitchFamily="2" charset="2"/>
        <a:buChar char="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1371600" indent="-228600" algn="l" rtl="0" eaLnBrk="0" fontAlgn="base" hangingPunct="0">
        <a:spcBef>
          <a:spcPct val="20000"/>
        </a:spcBef>
        <a:spcAft>
          <a:spcPct val="0"/>
        </a:spcAft>
        <a:buClr>
          <a:srgbClr val="8FB08C"/>
        </a:buClr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SzPct val="90000"/>
        <a:buChar char="•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rtl="0" eaLnBrk="1" latinLnBrk="0" hangingPunct="1">
        <a:spcBef>
          <a:spcPct val="20000"/>
        </a:spcBef>
        <a:buClr>
          <a:schemeClr val="accent4">
            <a:shade val="75000"/>
          </a:schemeClr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77440" indent="-182880" algn="l" rtl="0" eaLnBrk="1" latinLnBrk="0" hangingPunct="1">
        <a:spcBef>
          <a:spcPct val="20000"/>
        </a:spcBef>
        <a:buClr>
          <a:schemeClr val="accent2">
            <a:shade val="75000"/>
          </a:schemeClr>
        </a:buClr>
        <a:buSzPct val="90000"/>
        <a:buChar char="•"/>
        <a:defRPr kumimoji="0" sz="1400" kern="1200" cap="all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A20B66-873F-7BD6-BCF8-6C042269E5B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Organizace semestru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642D4395-89FF-2B77-BFA3-0BF9E02DC7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Vytvořil Institut biostatistiky a analýz, Masarykova univerzita </a:t>
            </a:r>
            <a:br>
              <a:rPr lang="cs-CZ"/>
            </a:br>
            <a:r>
              <a:rPr lang="cs-CZ"/>
              <a:t>J. Jarkovský, L. Brožová</a:t>
            </a:r>
            <a:endParaRPr lang="cs-CZ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ECE92B3D-2237-70EC-13E2-E92323F55D19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179512" y="1566316"/>
            <a:ext cx="8784976" cy="4598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73050" indent="-2730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Wingdings 2" pitchFamily="18" charset="2"/>
              <a:buChar char="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7688" indent="-2730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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223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CADAE"/>
              </a:buClr>
              <a:buSzPct val="75000"/>
              <a:buFont typeface="Wingdings 2" pitchFamily="18" charset="2"/>
              <a:buChar char="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6963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C7B70"/>
              </a:buClr>
              <a:buSzPct val="70000"/>
              <a:buFont typeface="Wingdings" pitchFamily="2" charset="2"/>
              <a:buChar char="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FB08C"/>
              </a:buClr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45920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Char char="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182880" algn="l" rtl="0" eaLnBrk="1" latinLnBrk="0" hangingPunct="1">
              <a:spcBef>
                <a:spcPct val="20000"/>
              </a:spcBef>
              <a:buClr>
                <a:schemeClr val="accent1">
                  <a:shade val="75000"/>
                </a:schemeClr>
              </a:buClr>
              <a:buSzPct val="90000"/>
              <a:buChar char="•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03120" indent="-182880" algn="l" rtl="0" eaLnBrk="1" latinLnBrk="0" hangingPunct="1">
              <a:spcBef>
                <a:spcPct val="20000"/>
              </a:spcBef>
              <a:buClr>
                <a:schemeClr val="accent4">
                  <a:shade val="75000"/>
                </a:schemeClr>
              </a:buClr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77440" indent="-182880" algn="l" rtl="0" eaLnBrk="1" latinLnBrk="0" hangingPunct="1">
              <a:spcBef>
                <a:spcPct val="20000"/>
              </a:spcBef>
              <a:buClr>
                <a:schemeClr val="accent2">
                  <a:shade val="75000"/>
                </a:schemeClr>
              </a:buClr>
              <a:buSzPct val="90000"/>
              <a:buChar char="•"/>
              <a:defRPr kumimoji="0" sz="14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1313" indent="-341313"/>
            <a:r>
              <a:rPr lang="cs-CZ" altLang="cs-CZ" sz="2000" dirty="0">
                <a:latin typeface="+mj-lt"/>
                <a:sym typeface="Math1" pitchFamily="2" charset="2"/>
              </a:rPr>
              <a:t>Náplň hodin semestru jaro 2024:</a:t>
            </a:r>
          </a:p>
          <a:p>
            <a:pPr marL="615951" lvl="1" indent="-341313"/>
            <a:r>
              <a:rPr lang="cs-CZ" altLang="cs-CZ" sz="1500" dirty="0">
                <a:latin typeface="+mj-lt"/>
                <a:sym typeface="Math1" pitchFamily="2" charset="2"/>
              </a:rPr>
              <a:t>20.02.2024 – Úvodní hodina</a:t>
            </a:r>
          </a:p>
          <a:p>
            <a:pPr marL="615951" lvl="1" indent="-341313"/>
            <a:r>
              <a:rPr lang="cs-CZ" altLang="cs-CZ" sz="1500" dirty="0">
                <a:latin typeface="+mj-lt"/>
                <a:sym typeface="Math1" pitchFamily="2" charset="2"/>
              </a:rPr>
              <a:t>27.02.2024 – </a:t>
            </a:r>
            <a:r>
              <a:rPr lang="cs-CZ" altLang="cs-CZ" sz="1500" b="1" dirty="0">
                <a:solidFill>
                  <a:schemeClr val="accent2"/>
                </a:solidFill>
                <a:latin typeface="+mj-lt"/>
                <a:sym typeface="Math1" pitchFamily="2" charset="2"/>
              </a:rPr>
              <a:t>Samostudium</a:t>
            </a:r>
            <a:r>
              <a:rPr lang="cs-CZ" altLang="cs-CZ" sz="1500" dirty="0">
                <a:latin typeface="+mj-lt"/>
                <a:sym typeface="Math1" pitchFamily="2" charset="2"/>
              </a:rPr>
              <a:t> – práce v R</a:t>
            </a:r>
          </a:p>
          <a:p>
            <a:pPr marL="615951" lvl="1" indent="-341313"/>
            <a:r>
              <a:rPr lang="cs-CZ" altLang="cs-CZ" sz="1500" dirty="0">
                <a:latin typeface="+mj-lt"/>
                <a:sym typeface="Math1" pitchFamily="2" charset="2"/>
              </a:rPr>
              <a:t>05.03.2024 – </a:t>
            </a:r>
            <a:r>
              <a:rPr lang="cs-CZ" altLang="cs-CZ" sz="1500" b="1" dirty="0">
                <a:solidFill>
                  <a:schemeClr val="accent2"/>
                </a:solidFill>
                <a:latin typeface="+mj-lt"/>
                <a:sym typeface="Math1" pitchFamily="2" charset="2"/>
              </a:rPr>
              <a:t>Samostudium </a:t>
            </a:r>
            <a:r>
              <a:rPr lang="cs-CZ" altLang="cs-CZ" sz="1500" dirty="0">
                <a:latin typeface="+mj-lt"/>
                <a:sym typeface="Math1" pitchFamily="2" charset="2"/>
              </a:rPr>
              <a:t>– metriky podobnosti a vzdálenosti, asociační matice</a:t>
            </a:r>
          </a:p>
          <a:p>
            <a:pPr marL="615951" lvl="1" indent="-341313"/>
            <a:r>
              <a:rPr lang="cs-CZ" altLang="cs-CZ" sz="1500" dirty="0">
                <a:latin typeface="+mj-lt"/>
                <a:sym typeface="Math1" pitchFamily="2" charset="2"/>
              </a:rPr>
              <a:t>12.03.2024 – Konzultace, cvičení k asociačním maticím</a:t>
            </a:r>
          </a:p>
          <a:p>
            <a:pPr marL="615951" lvl="1" indent="-341313"/>
            <a:r>
              <a:rPr lang="cs-CZ" altLang="cs-CZ" sz="1500" dirty="0">
                <a:latin typeface="+mj-lt"/>
                <a:sym typeface="Math1" pitchFamily="2" charset="2"/>
              </a:rPr>
              <a:t>19.03.2024 – </a:t>
            </a:r>
            <a:r>
              <a:rPr lang="cs-CZ" altLang="cs-CZ" sz="1500" b="1" dirty="0">
                <a:solidFill>
                  <a:schemeClr val="accent2"/>
                </a:solidFill>
                <a:latin typeface="+mj-lt"/>
                <a:sym typeface="Math1" pitchFamily="2" charset="2"/>
              </a:rPr>
              <a:t>Samostudium</a:t>
            </a:r>
            <a:r>
              <a:rPr lang="cs-CZ" altLang="cs-CZ" sz="1500" dirty="0">
                <a:latin typeface="+mj-lt"/>
                <a:sym typeface="Math1" pitchFamily="2" charset="2"/>
              </a:rPr>
              <a:t> – shluková analýza</a:t>
            </a:r>
          </a:p>
          <a:p>
            <a:pPr marL="615951" lvl="1" indent="-341313"/>
            <a:r>
              <a:rPr lang="cs-CZ" altLang="cs-CZ" sz="1500" dirty="0">
                <a:latin typeface="+mj-lt"/>
                <a:sym typeface="Math1" pitchFamily="2" charset="2"/>
              </a:rPr>
              <a:t>26.03.2024 – Konzultace, cvičení shluková analýza</a:t>
            </a:r>
          </a:p>
          <a:p>
            <a:pPr marL="615951" lvl="1" indent="-341313"/>
            <a:r>
              <a:rPr lang="cs-CZ" altLang="cs-CZ" sz="1500" b="1" dirty="0">
                <a:latin typeface="+mj-lt"/>
                <a:sym typeface="Math1" pitchFamily="2" charset="2"/>
              </a:rPr>
              <a:t>02.04.2024 – Písemka</a:t>
            </a:r>
          </a:p>
          <a:p>
            <a:pPr marL="615951" lvl="1" indent="-341313"/>
            <a:r>
              <a:rPr lang="cs-CZ" altLang="cs-CZ" sz="1500" dirty="0">
                <a:latin typeface="+mj-lt"/>
                <a:sym typeface="Math1" pitchFamily="2" charset="2"/>
              </a:rPr>
              <a:t>----------------------------------------------------------------------------------------------------------------</a:t>
            </a:r>
          </a:p>
          <a:p>
            <a:pPr marL="615951" lvl="1" indent="-341313"/>
            <a:r>
              <a:rPr lang="en-US" altLang="cs-CZ" sz="1500" dirty="0">
                <a:latin typeface="+mj-lt"/>
                <a:sym typeface="Math1" pitchFamily="2" charset="2"/>
              </a:rPr>
              <a:t>09.04.2024 </a:t>
            </a:r>
            <a:r>
              <a:rPr lang="cs-CZ" altLang="cs-CZ" sz="1500" dirty="0">
                <a:latin typeface="+mj-lt"/>
                <a:sym typeface="Math1" pitchFamily="2" charset="2"/>
              </a:rPr>
              <a:t>– </a:t>
            </a:r>
            <a:r>
              <a:rPr lang="cs-CZ" altLang="cs-CZ" sz="1500" b="1" dirty="0">
                <a:solidFill>
                  <a:schemeClr val="accent2"/>
                </a:solidFill>
                <a:latin typeface="+mj-lt"/>
                <a:sym typeface="Math1" pitchFamily="2" charset="2"/>
              </a:rPr>
              <a:t>Samostudium</a:t>
            </a:r>
            <a:r>
              <a:rPr lang="cs-CZ" altLang="cs-CZ" sz="1500" dirty="0">
                <a:latin typeface="+mj-lt"/>
                <a:sym typeface="Math1" pitchFamily="2" charset="2"/>
              </a:rPr>
              <a:t> – ordinační analýza (PCA – analýza hlavních komponent)</a:t>
            </a:r>
            <a:endParaRPr lang="en-US" altLang="cs-CZ" sz="1500" dirty="0">
              <a:latin typeface="+mj-lt"/>
              <a:sym typeface="Math1" pitchFamily="2" charset="2"/>
            </a:endParaRPr>
          </a:p>
          <a:p>
            <a:pPr marL="615951" lvl="1" indent="-341313"/>
            <a:r>
              <a:rPr lang="en-US" altLang="cs-CZ" sz="1500" dirty="0">
                <a:latin typeface="+mj-lt"/>
                <a:sym typeface="Math1" pitchFamily="2" charset="2"/>
              </a:rPr>
              <a:t>16.04.2024</a:t>
            </a:r>
            <a:r>
              <a:rPr lang="cs-CZ" altLang="cs-CZ" sz="1500" dirty="0">
                <a:latin typeface="+mj-lt"/>
                <a:sym typeface="Math1" pitchFamily="2" charset="2"/>
              </a:rPr>
              <a:t> – </a:t>
            </a:r>
            <a:r>
              <a:rPr lang="cs-CZ" altLang="cs-CZ" sz="1500">
                <a:latin typeface="+mj-lt"/>
                <a:sym typeface="Math1" pitchFamily="2" charset="2"/>
              </a:rPr>
              <a:t>Přednáška – opakování</a:t>
            </a:r>
            <a:endParaRPr lang="en-US" altLang="cs-CZ" sz="1500" dirty="0">
              <a:latin typeface="+mj-lt"/>
              <a:sym typeface="Math1" pitchFamily="2" charset="2"/>
            </a:endParaRPr>
          </a:p>
          <a:p>
            <a:pPr marL="615951" lvl="1" indent="-341313"/>
            <a:r>
              <a:rPr lang="en-US" altLang="cs-CZ" sz="1500" dirty="0">
                <a:latin typeface="+mj-lt"/>
                <a:sym typeface="Math1" pitchFamily="2" charset="2"/>
              </a:rPr>
              <a:t>23.04.2024</a:t>
            </a:r>
            <a:r>
              <a:rPr lang="cs-CZ" altLang="cs-CZ" sz="1500" dirty="0">
                <a:latin typeface="+mj-lt"/>
                <a:sym typeface="Math1" pitchFamily="2" charset="2"/>
              </a:rPr>
              <a:t> – Přednáška – ostatní ordinační metody, diskriminační analýza</a:t>
            </a:r>
            <a:endParaRPr lang="en-US" altLang="cs-CZ" sz="1500" dirty="0">
              <a:latin typeface="+mj-lt"/>
              <a:sym typeface="Math1" pitchFamily="2" charset="2"/>
            </a:endParaRPr>
          </a:p>
          <a:p>
            <a:pPr marL="615951" lvl="1" indent="-341313"/>
            <a:r>
              <a:rPr lang="en-US" altLang="cs-CZ" sz="1500" dirty="0">
                <a:latin typeface="+mj-lt"/>
                <a:sym typeface="Math1" pitchFamily="2" charset="2"/>
              </a:rPr>
              <a:t>30.04.2024</a:t>
            </a:r>
            <a:r>
              <a:rPr lang="cs-CZ" altLang="cs-CZ" sz="1500" dirty="0">
                <a:latin typeface="+mj-lt"/>
                <a:sym typeface="Math1" pitchFamily="2" charset="2"/>
              </a:rPr>
              <a:t> – Cvičení – analýza hlavních komponent</a:t>
            </a:r>
          </a:p>
          <a:p>
            <a:pPr marL="615951" lvl="1" indent="-341313"/>
            <a:r>
              <a:rPr lang="en-US" altLang="cs-CZ" sz="1500" dirty="0">
                <a:latin typeface="+mj-lt"/>
                <a:sym typeface="Math1" pitchFamily="2" charset="2"/>
              </a:rPr>
              <a:t>07.05.2024</a:t>
            </a:r>
            <a:r>
              <a:rPr lang="cs-CZ" altLang="cs-CZ" sz="1500" dirty="0">
                <a:latin typeface="+mj-lt"/>
                <a:sym typeface="Math1" pitchFamily="2" charset="2"/>
              </a:rPr>
              <a:t> – Přednáška – regresní modelování</a:t>
            </a:r>
            <a:endParaRPr lang="en-US" altLang="cs-CZ" sz="1500" dirty="0">
              <a:latin typeface="+mj-lt"/>
              <a:sym typeface="Math1" pitchFamily="2" charset="2"/>
            </a:endParaRPr>
          </a:p>
          <a:p>
            <a:pPr marL="615951" lvl="1" indent="-341313"/>
            <a:r>
              <a:rPr lang="en-US" altLang="cs-CZ" sz="1500" dirty="0">
                <a:latin typeface="+mj-lt"/>
                <a:sym typeface="Math1" pitchFamily="2" charset="2"/>
              </a:rPr>
              <a:t>14.05.2024</a:t>
            </a:r>
            <a:r>
              <a:rPr lang="cs-CZ" altLang="cs-CZ" sz="1500" dirty="0">
                <a:latin typeface="+mj-lt"/>
                <a:sym typeface="Math1" pitchFamily="2" charset="2"/>
              </a:rPr>
              <a:t> – Cvičení – regresní modelování</a:t>
            </a:r>
            <a:endParaRPr lang="en-US" altLang="cs-CZ" sz="1500" dirty="0">
              <a:latin typeface="+mj-lt"/>
              <a:sym typeface="Math1" pitchFamily="2" charset="2"/>
            </a:endParaRPr>
          </a:p>
          <a:p>
            <a:pPr marL="615951" lvl="1" indent="-341313"/>
            <a:r>
              <a:rPr lang="en-US" altLang="cs-CZ" sz="1500" b="1" dirty="0">
                <a:latin typeface="+mj-lt"/>
                <a:sym typeface="Math1" pitchFamily="2" charset="2"/>
              </a:rPr>
              <a:t>21.05.2024</a:t>
            </a:r>
            <a:r>
              <a:rPr lang="cs-CZ" altLang="cs-CZ" sz="1500" b="1" dirty="0">
                <a:latin typeface="+mj-lt"/>
                <a:sym typeface="Math1" pitchFamily="2" charset="2"/>
              </a:rPr>
              <a:t> – Písemka </a:t>
            </a:r>
          </a:p>
          <a:p>
            <a:pPr marL="615951" lvl="1" indent="-341313"/>
            <a:endParaRPr lang="cs-CZ" altLang="cs-CZ" sz="1500" dirty="0">
              <a:latin typeface="+mj-lt"/>
              <a:sym typeface="Math1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465141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Administrativní">
  <a:themeElements>
    <a:clrScheme name="Administrativní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Administrativní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70000"/>
                <a:satMod val="115000"/>
              </a:schemeClr>
              <a:schemeClr val="phClr">
                <a:tint val="85000"/>
              </a:schemeClr>
            </a:duotone>
          </a:blip>
          <a:tile tx="0" ty="0" sx="85000" sy="85000" flip="none" algn="tl"/>
        </a:blipFill>
        <a:blipFill>
          <a:blip xmlns:r="http://schemas.openxmlformats.org/officeDocument/2006/relationships" r:embed="rId2">
            <a:duotone>
              <a:schemeClr val="phClr">
                <a:shade val="65000"/>
                <a:satMod val="115000"/>
              </a:schemeClr>
              <a:schemeClr val="phClr">
                <a:tint val="85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11904f23-f0db-4cdc-96f7-390bd55fcee8}" enabled="0" method="" siteId="{11904f23-f0db-4cdc-96f7-390bd55fcee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0631</TotalTime>
  <Words>121</Words>
  <Application>Microsoft Office PowerPoint</Application>
  <PresentationFormat>Předvádění na obrazovce (4:3)</PresentationFormat>
  <Paragraphs>18</Paragraphs>
  <Slides>1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Wingdings 2</vt:lpstr>
      <vt:lpstr>Administrativní</vt:lpstr>
      <vt:lpstr>Organizace semestr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nímek 1</dc:title>
  <dc:creator>maluskova</dc:creator>
  <cp:lastModifiedBy>Cvanová Michaela RNDr. Ph.D.</cp:lastModifiedBy>
  <cp:revision>196</cp:revision>
  <dcterms:created xsi:type="dcterms:W3CDTF">2012-09-19T11:32:44Z</dcterms:created>
  <dcterms:modified xsi:type="dcterms:W3CDTF">2024-05-13T10:25:32Z</dcterms:modified>
</cp:coreProperties>
</file>